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12"/>
  </p:notesMasterIdLst>
  <p:sldIdLst>
    <p:sldId id="257" r:id="rId2"/>
    <p:sldId id="996" r:id="rId3"/>
    <p:sldId id="985" r:id="rId4"/>
    <p:sldId id="256" r:id="rId5"/>
    <p:sldId id="989" r:id="rId6"/>
    <p:sldId id="990" r:id="rId7"/>
    <p:sldId id="991" r:id="rId8"/>
    <p:sldId id="993" r:id="rId9"/>
    <p:sldId id="992" r:id="rId10"/>
    <p:sldId id="821" r:id="rId11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51"/>
    <p:restoredTop sz="95859"/>
  </p:normalViewPr>
  <p:slideViewPr>
    <p:cSldViewPr snapToObjects="1">
      <p:cViewPr varScale="1">
        <p:scale>
          <a:sx n="97" d="100"/>
          <a:sy n="97" d="100"/>
        </p:scale>
        <p:origin x="232" y="3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86FF-E85D-F143-A9A1-08F64926B286}" type="datetimeFigureOut">
              <a:rPr lang="en-US" smtClean="0"/>
              <a:t>4/14/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ED50A-AB26-4C4A-B663-A6FA9D7A1EE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A7B7E-AF3B-9A47-B8B8-C0B7127FC52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230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:\Marketing\CD\CD_Logos\UzK_Logo_Quadrat_uniblau\UzK_LogoQuadrat.jpg">
            <a:extLst>
              <a:ext uri="{FF2B5EF4-FFF2-40B4-BE49-F238E27FC236}">
                <a16:creationId xmlns:a16="http://schemas.microsoft.com/office/drawing/2014/main" id="{C6C6057D-C4CF-D648-A3E5-E51140659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0205525" y="5761935"/>
            <a:ext cx="1418770" cy="721574"/>
          </a:xfrm>
          <a:prstGeom prst="rect">
            <a:avLst/>
          </a:prstGeom>
          <a:noFill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8319E42-96C5-884B-82BB-2447E2056053}"/>
              </a:ext>
            </a:extLst>
          </p:cNvPr>
          <p:cNvSpPr/>
          <p:nvPr userDrawn="1"/>
        </p:nvSpPr>
        <p:spPr bwMode="auto">
          <a:xfrm>
            <a:off x="0" y="6762440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800"/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310CA648-C844-924C-92F6-C02631FBDF4A}"/>
              </a:ext>
            </a:extLst>
          </p:cNvPr>
          <p:cNvSpPr/>
          <p:nvPr userDrawn="1"/>
        </p:nvSpPr>
        <p:spPr bwMode="auto">
          <a:xfrm>
            <a:off x="534988" y="6237288"/>
            <a:ext cx="5432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000" b="0" i="0" kern="1200" dirty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t>Information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ystems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o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Sustainable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ociety (is3) |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WiSo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aculty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Univ.-Prof. Dr. Wolfgang Ketter | </a:t>
            </a:r>
            <a:fld id="{F98651E8-28A9-40EA-971A-EE9F3AB7359B}" type="datetime1">
              <a:rPr lang="de-DE" sz="1000" b="0" i="0" kern="1200" smtClean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pPr>
                <a:defRPr/>
              </a:pPr>
              <a:t>14.04.21</a:t>
            </a:fld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D8A2C00B-E920-394E-8CEC-EAF1DC65A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534989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>
              <a:lnSpc>
                <a:spcPts val="2400"/>
              </a:lnSpc>
              <a:buNone/>
              <a:defRPr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6F0E415F-AD40-FA4F-98DB-D4C8102EAC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260648"/>
            <a:ext cx="11089307" cy="346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 err="1"/>
              <a:t>S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630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47B19-0988-474A-999B-C2ACF6C91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26" t="8677" r="1026" b="86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31F6192-C14D-1845-B35E-365051392C7C}"/>
              </a:ext>
            </a:extLst>
          </p:cNvPr>
          <p:cNvSpPr/>
          <p:nvPr userDrawn="1"/>
        </p:nvSpPr>
        <p:spPr>
          <a:xfrm>
            <a:off x="3763" y="4790485"/>
            <a:ext cx="12188237" cy="2067515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92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242" y="1279526"/>
            <a:ext cx="10739616" cy="4839220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457A93"/>
              </a:buClr>
              <a:buFont typeface="Wingdings" panose="05000000000000000000" pitchFamily="2" charset="2"/>
              <a:buChar char="§"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858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 marL="11430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16002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480053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stainable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Society (is3) |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iSo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aculty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 Univ.-Prof. Dr. Wolfgang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Kette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</a:t>
            </a:r>
            <a:r>
              <a:rPr lang="de-DE" altLang="de-DE" sz="1000" b="0" i="0" baseline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fld id="{F98651E8-28A9-40EA-971A-EE9F3AB7359B}" type="datetime1">
              <a:rPr lang="de-DE" altLang="de-DE" sz="1000" b="0" i="0" smtClean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14.04.21</a:t>
            </a:fld>
            <a:endParaRPr lang="de-DE" altLang="de-DE" sz="1000" b="0" i="0">
              <a:solidFill>
                <a:schemeClr val="bg1">
                  <a:lumMod val="50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8242" y="365124"/>
            <a:ext cx="10739616" cy="9032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rgbClr val="45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12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7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pos="3772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7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27BACB-262E-734F-817B-6AF20102B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74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58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6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44" userDrawn="1">
          <p15:clr>
            <a:srgbClr val="F26B43"/>
          </p15:clr>
        </p15:guide>
        <p15:guide id="2" pos="778" userDrawn="1">
          <p15:clr>
            <a:srgbClr val="F26B43"/>
          </p15:clr>
        </p15:guide>
        <p15:guide id="3" pos="5109" userDrawn="1">
          <p15:clr>
            <a:srgbClr val="F26B43"/>
          </p15:clr>
        </p15:guide>
        <p15:guide id="4" orient="horz" pos="2873" userDrawn="1">
          <p15:clr>
            <a:srgbClr val="F26B43"/>
          </p15:clr>
        </p15:guide>
        <p15:guide id="5" orient="horz" pos="337" userDrawn="1">
          <p15:clr>
            <a:srgbClr val="F26B43"/>
          </p15:clr>
        </p15:guide>
        <p15:guide id="6" pos="937" userDrawn="1">
          <p15:clr>
            <a:srgbClr val="F26B43"/>
          </p15:clr>
        </p15:guide>
        <p15:guide id="7" pos="1374" userDrawn="1">
          <p15:clr>
            <a:srgbClr val="F26B43"/>
          </p15:clr>
        </p15:guide>
        <p15:guide id="8" pos="1536" userDrawn="1">
          <p15:clr>
            <a:srgbClr val="F26B43"/>
          </p15:clr>
        </p15:guide>
        <p15:guide id="9" pos="1967" userDrawn="1">
          <p15:clr>
            <a:srgbClr val="F26B43"/>
          </p15:clr>
        </p15:guide>
        <p15:guide id="10" pos="2132" userDrawn="1">
          <p15:clr>
            <a:srgbClr val="F26B43"/>
          </p15:clr>
        </p15:guide>
        <p15:guide id="11" pos="2566" userDrawn="1">
          <p15:clr>
            <a:srgbClr val="F26B43"/>
          </p15:clr>
        </p15:guide>
        <p15:guide id="12" pos="2725" userDrawn="1">
          <p15:clr>
            <a:srgbClr val="F26B43"/>
          </p15:clr>
        </p15:guide>
        <p15:guide id="13" pos="3164" userDrawn="1">
          <p15:clr>
            <a:srgbClr val="F26B43"/>
          </p15:clr>
        </p15:guide>
        <p15:guide id="14" pos="3323" userDrawn="1">
          <p15:clr>
            <a:srgbClr val="F26B43"/>
          </p15:clr>
        </p15:guide>
        <p15:guide id="15" pos="3759" userDrawn="1">
          <p15:clr>
            <a:srgbClr val="F26B43"/>
          </p15:clr>
        </p15:guide>
        <p15:guide id="16" pos="3921" userDrawn="1">
          <p15:clr>
            <a:srgbClr val="F26B43"/>
          </p15:clr>
        </p15:guide>
        <p15:guide id="17" pos="4357" userDrawn="1">
          <p15:clr>
            <a:srgbClr val="F26B43"/>
          </p15:clr>
        </p15:guide>
        <p15:guide id="18" pos="4519" userDrawn="1">
          <p15:clr>
            <a:srgbClr val="F26B43"/>
          </p15:clr>
        </p15:guide>
        <p15:guide id="19" pos="4955" userDrawn="1">
          <p15:clr>
            <a:srgbClr val="F26B43"/>
          </p15:clr>
        </p15:guide>
        <p15:guide id="20" pos="5551" userDrawn="1">
          <p15:clr>
            <a:srgbClr val="F26B43"/>
          </p15:clr>
        </p15:guide>
        <p15:guide id="21" pos="5708" userDrawn="1">
          <p15:clr>
            <a:srgbClr val="F26B43"/>
          </p15:clr>
        </p15:guide>
        <p15:guide id="22" pos="6149" userDrawn="1">
          <p15:clr>
            <a:srgbClr val="F26B43"/>
          </p15:clr>
        </p15:guide>
        <p15:guide id="23" pos="6306" userDrawn="1">
          <p15:clr>
            <a:srgbClr val="F26B43"/>
          </p15:clr>
        </p15:guide>
        <p15:guide id="24" pos="6740" userDrawn="1">
          <p15:clr>
            <a:srgbClr val="F26B43"/>
          </p15:clr>
        </p15:guide>
        <p15:guide id="25" pos="6905" userDrawn="1">
          <p15:clr>
            <a:srgbClr val="F26B43"/>
          </p15:clr>
        </p15:guide>
        <p15:guide id="26" pos="7338" userDrawn="1">
          <p15:clr>
            <a:srgbClr val="F26B43"/>
          </p15:clr>
        </p15:guide>
        <p15:guide id="27" orient="horz" pos="808" userDrawn="1">
          <p15:clr>
            <a:srgbClr val="F26B43"/>
          </p15:clr>
        </p15:guide>
        <p15:guide id="28" orient="horz" pos="972" userDrawn="1">
          <p15:clr>
            <a:srgbClr val="F26B43"/>
          </p15:clr>
        </p15:guide>
        <p15:guide id="29" orient="horz" pos="1601" userDrawn="1">
          <p15:clr>
            <a:srgbClr val="F26B43"/>
          </p15:clr>
        </p15:guide>
        <p15:guide id="30" orient="horz" pos="2080" userDrawn="1">
          <p15:clr>
            <a:srgbClr val="F26B43"/>
          </p15:clr>
        </p15:guide>
        <p15:guide id="31" orient="horz" pos="2237" userDrawn="1">
          <p15:clr>
            <a:srgbClr val="F26B43"/>
          </p15:clr>
        </p15:guide>
        <p15:guide id="32" orient="horz" pos="3929" userDrawn="1">
          <p15:clr>
            <a:srgbClr val="F26B43"/>
          </p15:clr>
        </p15:guide>
        <p15:guide id="33" orient="horz" pos="3344" userDrawn="1">
          <p15:clr>
            <a:srgbClr val="F26B43"/>
          </p15:clr>
        </p15:guide>
        <p15:guide id="34" orient="horz" pos="3501" userDrawn="1">
          <p15:clr>
            <a:srgbClr val="F26B43"/>
          </p15:clr>
        </p15:guide>
        <p15:guide id="35" orient="horz" pos="2718" userDrawn="1">
          <p15:clr>
            <a:srgbClr val="F26B43"/>
          </p15:clr>
        </p15:guide>
        <p15:guide id="36" pos="3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hyperlink" Target="http://www.is3.uni-koeln.de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tiff"/><Relationship Id="rId4" Type="http://schemas.openxmlformats.org/officeDocument/2006/relationships/hyperlink" Target="mailto:is3-teaching@wiso.uni-koeln.de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428263" y="5157193"/>
            <a:ext cx="1123033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kshop 1 – Intro: Anaconda, </a:t>
            </a:r>
            <a:r>
              <a:rPr lang="en-US" sz="3200" dirty="0" err="1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Jupyter</a:t>
            </a:r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, Pandas, </a:t>
            </a:r>
            <a:r>
              <a:rPr lang="en-US" sz="3200" dirty="0" err="1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cikit</a:t>
            </a:r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-Learn</a:t>
            </a:r>
            <a:endParaRPr lang="en-US" sz="3200" baseline="300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dvanced Analytics and Applications [AAA]</a:t>
            </a:r>
          </a:p>
        </p:txBody>
      </p:sp>
      <p:sp>
        <p:nvSpPr>
          <p:cNvPr id="5" name="Rechteck 4"/>
          <p:cNvSpPr/>
          <p:nvPr/>
        </p:nvSpPr>
        <p:spPr>
          <a:xfrm>
            <a:off x="428262" y="6335742"/>
            <a:ext cx="112303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1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for Sustainable Society (is3) | WiSo Faculty | Univ.-Prof. Dr. Wolfgang Ketter  | </a:t>
            </a:r>
            <a:fld id="{F98651E8-28A9-40EA-971A-EE9F3AB7359B}" type="datetime1">
              <a:rPr lang="en-US" altLang="de-DE" sz="110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4/14/21</a:t>
            </a:fld>
            <a:endParaRPr lang="en-US" altLang="de-DE" sz="11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953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84E1F6-7FE4-9449-B13D-1D29BC0F0364}"/>
              </a:ext>
            </a:extLst>
          </p:cNvPr>
          <p:cNvSpPr txBox="1"/>
          <p:nvPr/>
        </p:nvSpPr>
        <p:spPr>
          <a:xfrm>
            <a:off x="4994083" y="1268413"/>
            <a:ext cx="66291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general questions and enquiries 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resear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teach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job opening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nd new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project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refer to our website at </a:t>
            </a:r>
            <a:r>
              <a:rPr kumimoji="0" lang="en-US" sz="2800" b="0" i="0" u="sng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3.uni-koeln.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8894C-9714-FB4E-B1C4-92858B939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183" y="1347208"/>
            <a:ext cx="778786" cy="778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A20D24-FD58-9F4A-9ADD-C9A1649C7C4E}"/>
              </a:ext>
            </a:extLst>
          </p:cNvPr>
          <p:cNvSpPr txBox="1"/>
          <p:nvPr/>
        </p:nvSpPr>
        <p:spPr>
          <a:xfrm>
            <a:off x="5005633" y="3023840"/>
            <a:ext cx="66176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specific enquiries regarding this course contact us by sending an email to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IS3 teaching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ddress a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3-teaching@wiso.uni-koeln.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BFCAFD-5C04-A541-BC7B-5669BA92A2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5488" y="3111760"/>
            <a:ext cx="928481" cy="928481"/>
          </a:xfrm>
          <a:prstGeom prst="rect">
            <a:avLst/>
          </a:prstGeom>
        </p:spPr>
      </p:pic>
      <p:cxnSp>
        <p:nvCxnSpPr>
          <p:cNvPr id="11" name="Gerade Verbindung 8">
            <a:extLst>
              <a:ext uri="{FF2B5EF4-FFF2-40B4-BE49-F238E27FC236}">
                <a16:creationId xmlns:a16="http://schemas.microsoft.com/office/drawing/2014/main" id="{2A0DC8B7-F498-4048-B881-E34093EF9BB3}"/>
              </a:ext>
            </a:extLst>
          </p:cNvPr>
          <p:cNvCxnSpPr>
            <a:cxnSpLocks/>
          </p:cNvCxnSpPr>
          <p:nvPr/>
        </p:nvCxnSpPr>
        <p:spPr bwMode="auto">
          <a:xfrm flipV="1">
            <a:off x="2945373" y="1268413"/>
            <a:ext cx="0" cy="48509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F27933-06BF-B743-A20E-116BC6E410E7}"/>
              </a:ext>
            </a:extLst>
          </p:cNvPr>
          <p:cNvSpPr txBox="1"/>
          <p:nvPr/>
        </p:nvSpPr>
        <p:spPr>
          <a:xfrm>
            <a:off x="618242" y="1268413"/>
            <a:ext cx="2327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92798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GitHub</a:t>
            </a:r>
            <a:r>
              <a:rPr lang="de-DE" dirty="0"/>
              <a:t>: Workshop material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ploa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Hub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neral Information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6BC0BE4-1C8D-8340-9599-164D8E6E4B86}"/>
              </a:ext>
            </a:extLst>
          </p:cNvPr>
          <p:cNvSpPr/>
          <p:nvPr/>
        </p:nvSpPr>
        <p:spPr>
          <a:xfrm>
            <a:off x="3431704" y="3284984"/>
            <a:ext cx="79445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</a:rPr>
              <a:t>https://</a:t>
            </a:r>
            <a:r>
              <a:rPr lang="en-US" sz="20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github.com</a:t>
            </a:r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</a:rPr>
              <a:t>/IS3UniCologne/Advanced_Analytics_And_Applications_2021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CBDE25C-DF79-7F4B-AEE3-44667CA85B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1504" y="2773839"/>
            <a:ext cx="1422400" cy="14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0542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3">
            <a:extLst>
              <a:ext uri="{FF2B5EF4-FFF2-40B4-BE49-F238E27FC236}">
                <a16:creationId xmlns:a16="http://schemas.microsoft.com/office/drawing/2014/main" id="{3E9083A1-A136-D245-A4AD-3F75C99E5FB0}"/>
              </a:ext>
            </a:extLst>
          </p:cNvPr>
          <p:cNvSpPr/>
          <p:nvPr/>
        </p:nvSpPr>
        <p:spPr>
          <a:xfrm>
            <a:off x="534988" y="2292350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AF2F257-F52D-CF42-90A7-73FAD10CCD2C}"/>
              </a:ext>
            </a:extLst>
          </p:cNvPr>
          <p:cNvSpPr txBox="1"/>
          <p:nvPr/>
        </p:nvSpPr>
        <p:spPr>
          <a:xfrm>
            <a:off x="1039399" y="2248578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1" name="TextBox 391">
            <a:extLst>
              <a:ext uri="{FF2B5EF4-FFF2-40B4-BE49-F238E27FC236}">
                <a16:creationId xmlns:a16="http://schemas.microsoft.com/office/drawing/2014/main" id="{26C3BE23-6450-E44A-A401-44063736B399}"/>
              </a:ext>
            </a:extLst>
          </p:cNvPr>
          <p:cNvSpPr txBox="1"/>
          <p:nvPr/>
        </p:nvSpPr>
        <p:spPr>
          <a:xfrm>
            <a:off x="847038" y="3356574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DBD6576F-39DC-1C4F-8D7D-EA4C43070EC7}"/>
              </a:ext>
            </a:extLst>
          </p:cNvPr>
          <p:cNvSpPr txBox="1"/>
          <p:nvPr/>
        </p:nvSpPr>
        <p:spPr>
          <a:xfrm>
            <a:off x="1986988" y="2508789"/>
            <a:ext cx="60429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ools: Python, Anaconda, </a:t>
            </a:r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Jupyter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Notebooks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D3CEAC30-C1B1-9741-98BA-4B43A88B6FCB}"/>
              </a:ext>
            </a:extLst>
          </p:cNvPr>
          <p:cNvSpPr txBox="1"/>
          <p:nvPr/>
        </p:nvSpPr>
        <p:spPr>
          <a:xfrm>
            <a:off x="1986988" y="3648962"/>
            <a:ext cx="56614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Libaries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: </a:t>
            </a:r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Numpy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, Pandas and </a:t>
            </a:r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cikit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-Learn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4205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Anaconda</a:t>
            </a:r>
            <a:r>
              <a:rPr lang="de-DE" dirty="0"/>
              <a:t>: </a:t>
            </a:r>
            <a:r>
              <a:rPr lang="de-DE" dirty="0" err="1"/>
              <a:t>Why</a:t>
            </a:r>
            <a:r>
              <a:rPr lang="de-DE" dirty="0"/>
              <a:t> </a:t>
            </a:r>
            <a:r>
              <a:rPr lang="de-DE" dirty="0" err="1"/>
              <a:t>Anaconda</a:t>
            </a:r>
            <a:r>
              <a:rPr lang="de-DE" dirty="0"/>
              <a:t>?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BCB6BD1-07DE-3243-BDB3-91D6BC1BF5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408" y="1534695"/>
            <a:ext cx="10462466" cy="353062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969503" y="6177661"/>
            <a:ext cx="28483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www.anaconda.com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distribution/</a:t>
            </a:r>
          </a:p>
        </p:txBody>
      </p:sp>
    </p:spTree>
    <p:extLst>
      <p:ext uri="{BB962C8B-B14F-4D97-AF65-F5344CB8AC3E}">
        <p14:creationId xmlns:p14="http://schemas.microsoft.com/office/powerpoint/2010/main" val="20093666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Anaconda</a:t>
            </a:r>
            <a:r>
              <a:rPr lang="de-DE" dirty="0"/>
              <a:t>: Installatio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grpSp>
        <p:nvGrpSpPr>
          <p:cNvPr id="7" name="Group 1">
            <a:extLst>
              <a:ext uri="{FF2B5EF4-FFF2-40B4-BE49-F238E27FC236}">
                <a16:creationId xmlns:a16="http://schemas.microsoft.com/office/drawing/2014/main" id="{EE43443E-2336-8F47-8F15-3D3FDA90EB0F}"/>
              </a:ext>
            </a:extLst>
          </p:cNvPr>
          <p:cNvGrpSpPr/>
          <p:nvPr/>
        </p:nvGrpSpPr>
        <p:grpSpPr bwMode="auto">
          <a:xfrm>
            <a:off x="767408" y="1390922"/>
            <a:ext cx="10619859" cy="4320631"/>
            <a:chOff x="738000" y="1711090"/>
            <a:chExt cx="10619859" cy="3324698"/>
          </a:xfrm>
        </p:grpSpPr>
        <p:sp>
          <p:nvSpPr>
            <p:cNvPr id="8" name="Textframe 20">
              <a:extLst>
                <a:ext uri="{FF2B5EF4-FFF2-40B4-BE49-F238E27FC236}">
                  <a16:creationId xmlns:a16="http://schemas.microsoft.com/office/drawing/2014/main" id="{A1375E0B-1945-E747-9E7B-D972A11C9C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7212" y="1711090"/>
              <a:ext cx="8680645" cy="236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457993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Download Link</a:t>
              </a: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– </a:t>
              </a:r>
              <a:r>
                <a:rPr lang="en-US" sz="2000" b="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https://</a:t>
              </a:r>
              <a:r>
                <a:rPr lang="en-US" sz="2000" b="0" dirty="0" err="1">
                  <a:latin typeface="Arial Narrow" panose="020B0604020202020204" pitchFamily="34" charset="0"/>
                  <a:cs typeface="Arial Narrow" panose="020B0604020202020204" pitchFamily="34" charset="0"/>
                </a:rPr>
                <a:t>www.anaconda.com</a:t>
              </a:r>
              <a:r>
                <a:rPr lang="en-US" sz="2000" b="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/distribution/</a:t>
              </a: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 </a:t>
              </a:r>
              <a:endPara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Textframe 20">
              <a:extLst>
                <a:ext uri="{FF2B5EF4-FFF2-40B4-BE49-F238E27FC236}">
                  <a16:creationId xmlns:a16="http://schemas.microsoft.com/office/drawing/2014/main" id="{421B90A4-F663-294E-A757-30A7DC5801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000" y="1719089"/>
              <a:ext cx="533044" cy="66479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3302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r>
                <a:rPr kumimoji="0" lang="en-US" sz="4800" b="0" i="0" u="none" strike="noStrike" kern="0" cap="none" spc="0" normalizeH="0" baseline="0" noProof="0">
                  <a:ln>
                    <a:noFill/>
                  </a:ln>
                  <a:solidFill>
                    <a:srgbClr val="156C9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1</a:t>
              </a:r>
              <a:endParaRPr kumimoji="0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Textframe 20">
              <a:extLst>
                <a:ext uri="{FF2B5EF4-FFF2-40B4-BE49-F238E27FC236}">
                  <a16:creationId xmlns:a16="http://schemas.microsoft.com/office/drawing/2014/main" id="{7008D8D7-592F-8F46-9922-EF7E6BDE9F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7213" y="2593685"/>
              <a:ext cx="8680646" cy="236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457993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Python Version </a:t>
              </a: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– 3.7</a:t>
              </a: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1" name="Textframe 20">
              <a:extLst>
                <a:ext uri="{FF2B5EF4-FFF2-40B4-BE49-F238E27FC236}">
                  <a16:creationId xmlns:a16="http://schemas.microsoft.com/office/drawing/2014/main" id="{06D26673-A5CF-1D48-A019-59BEB8356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000" y="2603057"/>
              <a:ext cx="533044" cy="66479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3302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r>
                <a:rPr kumimoji="0" lang="en-US" sz="4800" b="0" i="0" u="none" strike="noStrike" kern="0" cap="none" spc="0" normalizeH="0" baseline="0" noProof="0">
                  <a:ln>
                    <a:noFill/>
                  </a:ln>
                  <a:solidFill>
                    <a:srgbClr val="156C9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2</a:t>
              </a:r>
              <a:endParaRPr kumimoji="0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frame 20">
              <a:extLst>
                <a:ext uri="{FF2B5EF4-FFF2-40B4-BE49-F238E27FC236}">
                  <a16:creationId xmlns:a16="http://schemas.microsoft.com/office/drawing/2014/main" id="{342ADBCE-7D63-7D41-815A-B07039C982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7213" y="3510873"/>
              <a:ext cx="6557732" cy="42629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457993"/>
                  </a:solidFill>
                  <a:effectLst/>
                  <a:uLnTx/>
                  <a:uFillTx/>
                  <a:latin typeface="Arial Narrow"/>
                  <a:ea typeface="+mn-ea"/>
                  <a:cs typeface="Arial"/>
                </a:rPr>
                <a:t>Install on your device </a:t>
              </a: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– If you have enough space, select all packages and libraries. </a:t>
              </a: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/>
                <a:ea typeface="+mn-ea"/>
                <a:cs typeface="Arial"/>
              </a:endParaRPr>
            </a:p>
          </p:txBody>
        </p:sp>
        <p:sp>
          <p:nvSpPr>
            <p:cNvPr id="13" name="Textframe 20">
              <a:extLst>
                <a:ext uri="{FF2B5EF4-FFF2-40B4-BE49-F238E27FC236}">
                  <a16:creationId xmlns:a16="http://schemas.microsoft.com/office/drawing/2014/main" id="{CCE5A37A-8810-7341-9821-6542020A00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000" y="3487024"/>
              <a:ext cx="533044" cy="66479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3302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r>
                <a:rPr kumimoji="0" lang="en-US" sz="4800" b="0" i="0" u="none" strike="noStrike" kern="0" cap="none" spc="0" normalizeH="0" baseline="0" noProof="0">
                  <a:ln>
                    <a:noFill/>
                  </a:ln>
                  <a:solidFill>
                    <a:srgbClr val="156C9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3</a:t>
              </a:r>
              <a:endParaRPr kumimoji="0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Textframe 20">
              <a:extLst>
                <a:ext uri="{FF2B5EF4-FFF2-40B4-BE49-F238E27FC236}">
                  <a16:creationId xmlns:a16="http://schemas.microsoft.com/office/drawing/2014/main" id="{680FE273-4409-1F40-92A4-7C6DD6988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7212" y="4394838"/>
              <a:ext cx="6841181" cy="42629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457993"/>
                  </a:solidFill>
                  <a:effectLst/>
                  <a:uLnTx/>
                  <a:uFillTx/>
                  <a:latin typeface="Arial Narrow"/>
                  <a:ea typeface="+mn-ea"/>
                  <a:cs typeface="Arial"/>
                </a:rPr>
                <a:t>Start Anaconda-Navigator </a:t>
              </a: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– </a:t>
              </a: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If the installation process was successful, you should be able to start “Anaconda Navigator” now.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/>
                <a:ea typeface="+mn-ea"/>
                <a:cs typeface="Arial"/>
              </a:endParaRPr>
            </a:p>
          </p:txBody>
        </p:sp>
        <p:sp>
          <p:nvSpPr>
            <p:cNvPr id="15" name="Textframe 20">
              <a:extLst>
                <a:ext uri="{FF2B5EF4-FFF2-40B4-BE49-F238E27FC236}">
                  <a16:creationId xmlns:a16="http://schemas.microsoft.com/office/drawing/2014/main" id="{2929AEC2-56F0-D14A-98E8-46148DFFF2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000" y="4370991"/>
              <a:ext cx="533044" cy="66479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3302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r>
                <a:rPr kumimoji="0" lang="en-US" sz="4800" b="0" i="0" u="none" strike="noStrike" kern="0" cap="none" spc="0" normalizeH="0" baseline="0" noProof="0" dirty="0">
                  <a:ln>
                    <a:noFill/>
                  </a:ln>
                  <a:solidFill>
                    <a:srgbClr val="156C9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4</a:t>
              </a:r>
              <a:endPara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6" name="Straight Connector 36">
              <a:extLst>
                <a:ext uri="{FF2B5EF4-FFF2-40B4-BE49-F238E27FC236}">
                  <a16:creationId xmlns:a16="http://schemas.microsoft.com/office/drawing/2014/main" id="{8F265B13-282D-7E46-A8A3-9A73310EB94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38000" y="2505394"/>
              <a:ext cx="10619857" cy="0"/>
            </a:xfrm>
            <a:prstGeom prst="line">
              <a:avLst/>
            </a:prstGeom>
            <a:noFill/>
            <a:ln w="9525" cap="flat" cmpd="sng" algn="ctr">
              <a:solidFill>
                <a:srgbClr val="DEE0E3"/>
              </a:solidFill>
              <a:prstDash val="solid"/>
            </a:ln>
          </p:spPr>
        </p:cxnSp>
        <p:cxnSp>
          <p:nvCxnSpPr>
            <p:cNvPr id="17" name="Straight Connector 37">
              <a:extLst>
                <a:ext uri="{FF2B5EF4-FFF2-40B4-BE49-F238E27FC236}">
                  <a16:creationId xmlns:a16="http://schemas.microsoft.com/office/drawing/2014/main" id="{32976BE8-8EF9-BE4D-9026-CBEDDE9B6AF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38000" y="3389360"/>
              <a:ext cx="10619857" cy="0"/>
            </a:xfrm>
            <a:prstGeom prst="line">
              <a:avLst/>
            </a:prstGeom>
            <a:noFill/>
            <a:ln w="9525" cap="flat" cmpd="sng" algn="ctr">
              <a:solidFill>
                <a:srgbClr val="DEE0E3"/>
              </a:solidFill>
              <a:prstDash val="solid"/>
            </a:ln>
          </p:spPr>
        </p:cxnSp>
        <p:cxnSp>
          <p:nvCxnSpPr>
            <p:cNvPr id="18" name="Straight Connector 38">
              <a:extLst>
                <a:ext uri="{FF2B5EF4-FFF2-40B4-BE49-F238E27FC236}">
                  <a16:creationId xmlns:a16="http://schemas.microsoft.com/office/drawing/2014/main" id="{C8EFFA10-E8B7-6449-907B-0B43DA99980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38000" y="4273329"/>
              <a:ext cx="10619857" cy="0"/>
            </a:xfrm>
            <a:prstGeom prst="line">
              <a:avLst/>
            </a:prstGeom>
            <a:noFill/>
            <a:ln w="9525" cap="flat" cmpd="sng" algn="ctr">
              <a:solidFill>
                <a:srgbClr val="DEE0E3"/>
              </a:solidFill>
              <a:prstDash val="solid"/>
            </a:ln>
          </p:spPr>
        </p:cxnSp>
      </p:grpSp>
      <p:pic>
        <p:nvPicPr>
          <p:cNvPr id="19" name="Grafik 18">
            <a:extLst>
              <a:ext uri="{FF2B5EF4-FFF2-40B4-BE49-F238E27FC236}">
                <a16:creationId xmlns:a16="http://schemas.microsoft.com/office/drawing/2014/main" id="{C780C0EF-FA17-A74E-B3CD-C8C1A02D3C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47801" y="2505435"/>
            <a:ext cx="1656183" cy="901422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FC11F96E-A6DD-8142-988C-28D6738795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7801" y="4847612"/>
            <a:ext cx="1656183" cy="102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2520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Jupyter</a:t>
            </a:r>
            <a:r>
              <a:rPr lang="de-DE" dirty="0"/>
              <a:t> Notebook: </a:t>
            </a:r>
            <a:r>
              <a:rPr lang="de-DE" dirty="0" err="1"/>
              <a:t>Starting</a:t>
            </a:r>
            <a:r>
              <a:rPr lang="de-DE" dirty="0"/>
              <a:t> a Notebook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2877AE3-190C-7840-9BAC-49D15BD0E9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3592" y="1412776"/>
            <a:ext cx="6744422" cy="3672408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6DA92FBF-60CC-FB47-A5CB-F9684CA2FF28}"/>
              </a:ext>
            </a:extLst>
          </p:cNvPr>
          <p:cNvSpPr/>
          <p:nvPr/>
        </p:nvSpPr>
        <p:spPr>
          <a:xfrm>
            <a:off x="2280453" y="2726797"/>
            <a:ext cx="277396" cy="275894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3027A3D-42F5-2F4A-8D61-F0F224DA0141}"/>
              </a:ext>
            </a:extLst>
          </p:cNvPr>
          <p:cNvSpPr/>
          <p:nvPr/>
        </p:nvSpPr>
        <p:spPr>
          <a:xfrm>
            <a:off x="6312875" y="2706202"/>
            <a:ext cx="277396" cy="275894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0AAD5B9-1F3F-1946-981E-A7482C83F3ED}"/>
              </a:ext>
            </a:extLst>
          </p:cNvPr>
          <p:cNvSpPr/>
          <p:nvPr/>
        </p:nvSpPr>
        <p:spPr>
          <a:xfrm>
            <a:off x="6757718" y="3645316"/>
            <a:ext cx="277396" cy="275894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3829568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3">
            <a:extLst>
              <a:ext uri="{FF2B5EF4-FFF2-40B4-BE49-F238E27FC236}">
                <a16:creationId xmlns:a16="http://schemas.microsoft.com/office/drawing/2014/main" id="{3E9083A1-A136-D245-A4AD-3F75C99E5FB0}"/>
              </a:ext>
            </a:extLst>
          </p:cNvPr>
          <p:cNvSpPr/>
          <p:nvPr/>
        </p:nvSpPr>
        <p:spPr>
          <a:xfrm>
            <a:off x="551384" y="3395046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AF2F257-F52D-CF42-90A7-73FAD10CCD2C}"/>
              </a:ext>
            </a:extLst>
          </p:cNvPr>
          <p:cNvSpPr txBox="1"/>
          <p:nvPr/>
        </p:nvSpPr>
        <p:spPr>
          <a:xfrm>
            <a:off x="1039399" y="2248578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1" name="TextBox 391">
            <a:extLst>
              <a:ext uri="{FF2B5EF4-FFF2-40B4-BE49-F238E27FC236}">
                <a16:creationId xmlns:a16="http://schemas.microsoft.com/office/drawing/2014/main" id="{26C3BE23-6450-E44A-A401-44063736B399}"/>
              </a:ext>
            </a:extLst>
          </p:cNvPr>
          <p:cNvSpPr txBox="1"/>
          <p:nvPr/>
        </p:nvSpPr>
        <p:spPr>
          <a:xfrm>
            <a:off x="847038" y="3356574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DBD6576F-39DC-1C4F-8D7D-EA4C43070EC7}"/>
              </a:ext>
            </a:extLst>
          </p:cNvPr>
          <p:cNvSpPr txBox="1"/>
          <p:nvPr/>
        </p:nvSpPr>
        <p:spPr>
          <a:xfrm>
            <a:off x="1986988" y="2508789"/>
            <a:ext cx="60429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ools: Python, Anaconda, </a:t>
            </a:r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Jupyter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Notebooks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D3CEAC30-C1B1-9741-98BA-4B43A88B6FCB}"/>
              </a:ext>
            </a:extLst>
          </p:cNvPr>
          <p:cNvSpPr txBox="1"/>
          <p:nvPr/>
        </p:nvSpPr>
        <p:spPr>
          <a:xfrm>
            <a:off x="1986988" y="3648962"/>
            <a:ext cx="56614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Libaries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: </a:t>
            </a:r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Numpy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, Pandas and </a:t>
            </a:r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cikit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-Learn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20031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Pandas: A Data </a:t>
            </a:r>
            <a:r>
              <a:rPr lang="de-DE" dirty="0" err="1"/>
              <a:t>Scientist's</a:t>
            </a:r>
            <a:r>
              <a:rPr lang="de-DE" dirty="0"/>
              <a:t> </a:t>
            </a:r>
            <a:r>
              <a:rPr lang="de-DE" dirty="0" err="1"/>
              <a:t>favourit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Librarie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969503" y="6177661"/>
            <a:ext cx="28483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www.anaconda.com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distribution/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CFCB940-88E3-5F41-A5AC-C575D9E26029}"/>
              </a:ext>
            </a:extLst>
          </p:cNvPr>
          <p:cNvSpPr txBox="1"/>
          <p:nvPr/>
        </p:nvSpPr>
        <p:spPr>
          <a:xfrm>
            <a:off x="1991544" y="2636912"/>
            <a:ext cx="9170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This is not a tutorial on Python! We expect from you that you are familiar with the fundamentals of Python or at least are willing to learn it by yourselves.</a:t>
            </a:r>
          </a:p>
        </p:txBody>
      </p:sp>
      <p:sp>
        <p:nvSpPr>
          <p:cNvPr id="7" name="&quot;Nein&quot;-Symbol 6">
            <a:extLst>
              <a:ext uri="{FF2B5EF4-FFF2-40B4-BE49-F238E27FC236}">
                <a16:creationId xmlns:a16="http://schemas.microsoft.com/office/drawing/2014/main" id="{37973DB4-17C9-0B44-87B7-D7F3759E98DE}"/>
              </a:ext>
            </a:extLst>
          </p:cNvPr>
          <p:cNvSpPr/>
          <p:nvPr/>
        </p:nvSpPr>
        <p:spPr>
          <a:xfrm>
            <a:off x="672148" y="2657957"/>
            <a:ext cx="1062684" cy="1158240"/>
          </a:xfrm>
          <a:prstGeom prst="noSmoking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089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Pandas: A Data </a:t>
            </a:r>
            <a:r>
              <a:rPr lang="de-DE" dirty="0" err="1"/>
              <a:t>Scientist's</a:t>
            </a:r>
            <a:r>
              <a:rPr lang="de-DE" dirty="0"/>
              <a:t> </a:t>
            </a:r>
            <a:r>
              <a:rPr lang="de-DE" dirty="0" err="1"/>
              <a:t>favourit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Requirements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3126553" y="5263262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Data Frame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BDCB8F49-DF54-4442-8302-CD32E9E6C1B8}"/>
              </a:ext>
            </a:extLst>
          </p:cNvPr>
          <p:cNvSpPr txBox="1">
            <a:spLocks/>
          </p:cNvSpPr>
          <p:nvPr/>
        </p:nvSpPr>
        <p:spPr>
          <a:xfrm>
            <a:off x="534987" y="1260354"/>
            <a:ext cx="11089307" cy="48403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ea typeface="Arial Narrow" charset="0"/>
              </a:rPr>
              <a:t>Main intended use</a:t>
            </a:r>
            <a:r>
              <a:rPr lang="en-US" dirty="0">
                <a:ea typeface="Arial Narrow" charset="0"/>
              </a:rPr>
              <a:t>: Read, clean, transform, write and analyze Data</a:t>
            </a:r>
          </a:p>
          <a:p>
            <a:r>
              <a:rPr lang="en-US" dirty="0">
                <a:ea typeface="Arial Narrow" charset="0"/>
              </a:rPr>
              <a:t>Pandas is built on top of </a:t>
            </a:r>
            <a:r>
              <a:rPr lang="en-US" b="1" dirty="0">
                <a:ea typeface="Arial Narrow" charset="0"/>
              </a:rPr>
              <a:t>NumPy, </a:t>
            </a:r>
            <a:r>
              <a:rPr lang="en-US" dirty="0">
                <a:ea typeface="Arial Narrow" charset="0"/>
              </a:rPr>
              <a:t>and it can seamlessly work with different well-known Data–Science libraries such as </a:t>
            </a:r>
            <a:r>
              <a:rPr lang="en-US" b="1" dirty="0">
                <a:ea typeface="Arial Narrow" charset="0"/>
              </a:rPr>
              <a:t>SciPy</a:t>
            </a:r>
            <a:r>
              <a:rPr lang="en-US" dirty="0">
                <a:ea typeface="Arial Narrow" charset="0"/>
              </a:rPr>
              <a:t>, </a:t>
            </a:r>
            <a:r>
              <a:rPr lang="en-US" b="1" dirty="0">
                <a:ea typeface="Arial Narrow" charset="0"/>
              </a:rPr>
              <a:t>Matplotlib</a:t>
            </a:r>
            <a:r>
              <a:rPr lang="en-US" dirty="0">
                <a:ea typeface="Arial Narrow" charset="0"/>
              </a:rPr>
              <a:t> and </a:t>
            </a:r>
            <a:r>
              <a:rPr lang="en-US" b="1" dirty="0" err="1">
                <a:ea typeface="Arial Narrow" charset="0"/>
              </a:rPr>
              <a:t>Scikit</a:t>
            </a:r>
            <a:r>
              <a:rPr lang="en-US" b="1" dirty="0">
                <a:ea typeface="Arial Narrow" charset="0"/>
              </a:rPr>
              <a:t>-Learn</a:t>
            </a:r>
            <a:r>
              <a:rPr lang="en-US" dirty="0">
                <a:ea typeface="Arial Narrow" charset="0"/>
              </a:rPr>
              <a:t>.</a:t>
            </a:r>
          </a:p>
          <a:p>
            <a:r>
              <a:rPr lang="en-US" dirty="0">
                <a:ea typeface="Arial Narrow" charset="0"/>
              </a:rPr>
              <a:t>Core concept of Pandas: Series and </a:t>
            </a:r>
            <a:r>
              <a:rPr lang="en-US" dirty="0" err="1">
                <a:ea typeface="Arial Narrow" charset="0"/>
              </a:rPr>
              <a:t>DataFrame</a:t>
            </a:r>
            <a:r>
              <a:rPr lang="en-US" dirty="0">
                <a:ea typeface="Arial Narrow" charset="0"/>
              </a:rPr>
              <a:t>: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589D0A6-D6DE-6043-885F-1C12ACCCFD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799"/>
          <a:stretch/>
        </p:blipFill>
        <p:spPr>
          <a:xfrm>
            <a:off x="3122042" y="3429000"/>
            <a:ext cx="1303412" cy="16129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1E06526-A05E-AA43-B2C0-567E8B5F0B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630" r="37410"/>
          <a:stretch/>
        </p:blipFill>
        <p:spPr>
          <a:xfrm>
            <a:off x="6663611" y="3429000"/>
            <a:ext cx="543990" cy="16129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746C0DB-A623-8841-8485-80BC3D6B2CA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579" r="3783"/>
          <a:stretch/>
        </p:blipFill>
        <p:spPr>
          <a:xfrm>
            <a:off x="8393675" y="3429000"/>
            <a:ext cx="725833" cy="1612900"/>
          </a:xfrm>
          <a:prstGeom prst="rect">
            <a:avLst/>
          </a:prstGeom>
        </p:spPr>
      </p:pic>
      <p:sp>
        <p:nvSpPr>
          <p:cNvPr id="9" name="Gleich 8">
            <a:extLst>
              <a:ext uri="{FF2B5EF4-FFF2-40B4-BE49-F238E27FC236}">
                <a16:creationId xmlns:a16="http://schemas.microsoft.com/office/drawing/2014/main" id="{9CFD0B95-64F2-334C-BAD7-7C01D8894DDF}"/>
              </a:ext>
            </a:extLst>
          </p:cNvPr>
          <p:cNvSpPr/>
          <p:nvPr/>
        </p:nvSpPr>
        <p:spPr>
          <a:xfrm>
            <a:off x="4922242" y="4005064"/>
            <a:ext cx="1038054" cy="529866"/>
          </a:xfrm>
          <a:prstGeom prst="mathEqual">
            <a:avLst/>
          </a:prstGeom>
          <a:solidFill>
            <a:srgbClr val="447A93"/>
          </a:solidFill>
          <a:ln>
            <a:solidFill>
              <a:srgbClr val="447A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Kreuz 9">
            <a:extLst>
              <a:ext uri="{FF2B5EF4-FFF2-40B4-BE49-F238E27FC236}">
                <a16:creationId xmlns:a16="http://schemas.microsoft.com/office/drawing/2014/main" id="{FE6F2E0E-A219-024C-952C-279085C5B1BF}"/>
              </a:ext>
            </a:extLst>
          </p:cNvPr>
          <p:cNvSpPr/>
          <p:nvPr/>
        </p:nvSpPr>
        <p:spPr>
          <a:xfrm>
            <a:off x="7594102" y="4028302"/>
            <a:ext cx="499574" cy="494271"/>
          </a:xfrm>
          <a:prstGeom prst="plus">
            <a:avLst>
              <a:gd name="adj" fmla="val 36792"/>
            </a:avLst>
          </a:prstGeom>
          <a:solidFill>
            <a:srgbClr val="447A93"/>
          </a:solidFill>
          <a:ln>
            <a:solidFill>
              <a:srgbClr val="447A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EAF2C96-0026-F140-8ED6-CE2370307D7D}"/>
              </a:ext>
            </a:extLst>
          </p:cNvPr>
          <p:cNvSpPr txBox="1"/>
          <p:nvPr/>
        </p:nvSpPr>
        <p:spPr>
          <a:xfrm>
            <a:off x="6574770" y="5263262"/>
            <a:ext cx="721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Serie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ADA5043-646D-D742-8092-B53657C946A2}"/>
              </a:ext>
            </a:extLst>
          </p:cNvPr>
          <p:cNvSpPr txBox="1"/>
          <p:nvPr/>
        </p:nvSpPr>
        <p:spPr>
          <a:xfrm>
            <a:off x="8377860" y="5263262"/>
            <a:ext cx="721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Series</a:t>
            </a:r>
          </a:p>
        </p:txBody>
      </p:sp>
    </p:spTree>
    <p:extLst>
      <p:ext uri="{BB962C8B-B14F-4D97-AF65-F5344CB8AC3E}">
        <p14:creationId xmlns:p14="http://schemas.microsoft.com/office/powerpoint/2010/main" val="2414254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2</Words>
  <Application>Microsoft Macintosh PowerPoint</Application>
  <PresentationFormat>Breitbild</PresentationFormat>
  <Paragraphs>48</Paragraphs>
  <Slides>10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Arial Narrow</vt:lpstr>
      <vt:lpstr>Calibri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uhammed Demircan</cp:lastModifiedBy>
  <cp:revision>30</cp:revision>
  <dcterms:created xsi:type="dcterms:W3CDTF">2019-12-26T20:10:50Z</dcterms:created>
  <dcterms:modified xsi:type="dcterms:W3CDTF">2021-04-14T06:56:33Z</dcterms:modified>
</cp:coreProperties>
</file>